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0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5" r:id="rId3"/>
    <p:sldMasterId id="2147483697" r:id="rId4"/>
    <p:sldMasterId id="2147483710" r:id="rId5"/>
    <p:sldMasterId id="2147483722" r:id="rId6"/>
    <p:sldMasterId id="2147483734" r:id="rId7"/>
    <p:sldMasterId id="2147483738" r:id="rId8"/>
    <p:sldMasterId id="2147483750" r:id="rId9"/>
    <p:sldMasterId id="2147483786" r:id="rId10"/>
    <p:sldMasterId id="2147483838" r:id="rId11"/>
  </p:sldMasterIdLst>
  <p:sldIdLst>
    <p:sldId id="256" r:id="rId12"/>
    <p:sldId id="257" r:id="rId13"/>
    <p:sldId id="274" r:id="rId14"/>
    <p:sldId id="271" r:id="rId15"/>
    <p:sldId id="260" r:id="rId16"/>
    <p:sldId id="266" r:id="rId17"/>
    <p:sldId id="268" r:id="rId18"/>
    <p:sldId id="269" r:id="rId19"/>
    <p:sldId id="270" r:id="rId20"/>
    <p:sldId id="273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46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ID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A193CBB5-8F00-714F-8AD8-F66B1675C9E0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85063D-C4E1-4D48-A2AA-E1E8FA931C17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9A3304-C3F8-3D42-B536-6C5C9491C828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EC2832-8FD9-6B4C-90F8-E04617FBD91D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1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1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6" y="731521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6" y="3497803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5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9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7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4" y="731519"/>
            <a:ext cx="4829287" cy="48947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0051" y="1825625"/>
            <a:ext cx="83439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05FD55DB-4CB0-984B-AB86-294DC39DCB2F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6059B4-CCF7-1348-B02E-45EC5343F4FA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9BE5A3-42ED-5346-BD84-F43C3B0582B0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A14982C-9549-0E49-A85A-538D2E46481D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8"/>
            <a:ext cx="2200275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0051" y="365128"/>
            <a:ext cx="6029325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952DA44B-ACBB-9840-9C40-C82653C7EEC8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4AFF18-E1F5-E044-9050-FD4F1E5049E7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FA633B-6D36-4D4A-9FE3-792DAC491AEE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0B943D6-FF22-6B4B-935B-2FAA0376B1A0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878B7-40A9-4BA1-8665-0339A7D0A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AD308-1653-4640-A584-5196128AD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BC23E-B578-4F6D-9EDE-54B0ED86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2C8AA-0588-4C84-B16E-74FAF89B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E865B-1D52-4F00-9196-E33C13B74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117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AE343-74BD-41A4-BD4D-48724138F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9C7769-C2BC-4A67-9D35-81ED22802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87B10-327C-4D3A-A54F-A6B313B5D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9B7E9-6C6D-4CBB-8774-F965EAA9A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72C59-5564-40C3-A9F2-F5F325E2D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364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06A79-58FE-4F90-8C27-AB01AE764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170974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03264-3943-4754-806A-8BB412C13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458947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F26A6-06B9-4DD6-B90E-1D648582B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3AA32B-D901-46B6-9D36-8FA754EE3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F16944-4B67-4A79-A4E6-B1FDBA41C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136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1964D-453A-4156-BBA0-2C4B47C79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B33BD-02B3-41D7-ACE8-408104D1CA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6D80FD-5D71-49BC-BDA9-6FE2558FA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E70943-58E8-4619-97B6-D6CFCFB4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919DC1-899B-481F-B8C1-01E78A31D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5CF9D-736D-4314-BDC7-27FF590D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291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A25EA-A323-41F2-AFFB-4BBFA8CF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95E9D-5576-4FD0-BA23-8BC996D4F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E9984F-4D3D-4C01-9220-83520B333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DBD4FB-AE4B-4FD3-B9F1-B6F966529A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F3397-7801-475F-9F30-68D7A691A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FE7B38-E9FD-487E-A95C-BA36DDFF2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FBC180-C88F-425F-B309-E960C93B7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39FB7D-70E1-43E3-BFF9-6D8B0011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9663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26F0-F142-4A9C-AB32-49F99EBF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08820-8B2C-4EC5-8AD0-DEFFF98E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631A2F-F8FD-4866-9C46-67BA9F9B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ADA0ED-D981-4998-82AE-05A4B5152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4932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07D318-A37C-42B4-9AD6-97B28F9E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ED262-8D95-4025-889E-1F72497C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2B889-B9CB-4E59-9257-31E3CEC34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00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1" y="1825625"/>
            <a:ext cx="83439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A83CFA3F-9BFB-394E-B024-801F5C16AFBF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18A9FD-B820-B240-9420-22134C01C43C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ACB319-1A34-0E43-B81E-5DE55CAF099D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C8222F1-2A79-4F48-AD19-D3E7155A5973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FEA8B-2EF5-4C61-B706-F0878DDC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1A11B-EA94-4908-A823-CF563CF6F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2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F68A-FDCF-4E63-9276-D334B8F0F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26C193-21DF-4571-9F20-6505EE986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EB6686-B8AE-4C41-9E8C-FC24AB6D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2289CB-CEBF-492F-B25D-7918922B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313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DCB26-C7EC-4DAC-AEC8-69F1B846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1B64CA-8DA0-457C-9A3D-D077531F53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2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2D82AF-E44D-4657-92A0-D5731CFAC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96FDA-B274-4224-B668-878F318AF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BF968C-3329-47A0-AE96-84FE74F03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DAA27-8A0E-4CE4-8164-6EE2E06B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5947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534E8-C440-488C-AB93-D700057D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DBAF66-E58F-452E-BF71-BCF2BF8D46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4FD5A-EE11-494B-B66F-6CDF19BE3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B277F-775D-4899-902B-F83B684B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97E79-77A5-4E66-9E05-275B04DC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699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E5E1A4-8CD9-4CAF-9B6D-5D9B4EABB7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63751D-5AE5-48A5-A779-010C27AAD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24D780-DB4C-4CBF-833E-EDEE2456E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A9F19-9243-4AD8-AC52-4CA3298D1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7F2A7E-6CCF-4179-B51D-166290C9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6470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878B7-40A9-4BA1-8665-0339A7D0A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AD308-1653-4640-A584-5196128AD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BC23E-B578-4F6D-9EDE-54B0ED86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2C8AA-0588-4C84-B16E-74FAF89B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E865B-1D52-4F00-9196-E33C13B74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555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AE343-74BD-41A4-BD4D-48724138F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9C7769-C2BC-4A67-9D35-81ED22802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87B10-327C-4D3A-A54F-A6B313B5D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9B7E9-6C6D-4CBB-8774-F965EAA9A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72C59-5564-40C3-A9F2-F5F325E2D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384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06A79-58FE-4F90-8C27-AB01AE764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170974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03264-3943-4754-806A-8BB412C13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458947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F26A6-06B9-4DD6-B90E-1D648582B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3AA32B-D901-46B6-9D36-8FA754EE3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F16944-4B67-4A79-A4E6-B1FDBA41C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42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1964D-453A-4156-BBA0-2C4B47C79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B33BD-02B3-41D7-ACE8-408104D1CA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6D80FD-5D71-49BC-BDA9-6FE2558FA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E70943-58E8-4619-97B6-D6CFCFB4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919DC1-899B-481F-B8C1-01E78A31D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5CF9D-736D-4314-BDC7-27FF590D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9961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A25EA-A323-41F2-AFFB-4BBFA8CF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95E9D-5576-4FD0-BA23-8BC996D4F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E9984F-4D3D-4C01-9220-83520B333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DBD4FB-AE4B-4FD3-B9F1-B6F966529A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F3397-7801-475F-9F30-68D7A691A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FE7B38-E9FD-487E-A95C-BA36DDFF2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FBC180-C88F-425F-B309-E960C93B7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39FB7D-70E1-43E3-BFF9-6D8B0011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516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26F0-F142-4A9C-AB32-49F99EBF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08820-8B2C-4EC5-8AD0-DEFFF98E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631A2F-F8FD-4866-9C46-67BA9F9B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ADA0ED-D981-4998-82AE-05A4B5152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56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9" y="1709742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458946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07D318-A37C-42B4-9AD6-97B28F9E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ED262-8D95-4025-889E-1F72497C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2B889-B9CB-4E59-9257-31E3CEC34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33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FEA8B-2EF5-4C61-B706-F0878DDC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1A11B-EA94-4908-A823-CF563CF6F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2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F68A-FDCF-4E63-9276-D334B8F0F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26C193-21DF-4571-9F20-6505EE986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EB6686-B8AE-4C41-9E8C-FC24AB6D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2289CB-CEBF-492F-B25D-7918922B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5398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DCB26-C7EC-4DAC-AEC8-69F1B846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1B64CA-8DA0-457C-9A3D-D077531F53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2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2D82AF-E44D-4657-92A0-D5731CFAC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96FDA-B274-4224-B668-878F318AF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BF968C-3329-47A0-AE96-84FE74F03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DAA27-8A0E-4CE4-8164-6EE2E06B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055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534E8-C440-488C-AB93-D700057D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DBAF66-E58F-452E-BF71-BCF2BF8D46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4FD5A-EE11-494B-B66F-6CDF19BE3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B277F-775D-4899-902B-F83B684B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97E79-77A5-4E66-9E05-275B04DC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3617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E5E1A4-8CD9-4CAF-9B6D-5D9B4EABB7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63751D-5AE5-48A5-A779-010C27AAD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24D780-DB4C-4CBF-833E-EDEE2456E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A9F19-9243-4AD8-AC52-4CA3298D1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7F2A7E-6CCF-4179-B51D-166290C9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0761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1" y="1825625"/>
            <a:ext cx="83439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4BA5DB-8541-F144-8E8C-A33CD766260D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AA5577-E831-7440-9F81-2F9600E0ABE6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E6A7B96-11B2-8C4C-A1D8-58A474C09EB0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6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0049" y="1825625"/>
            <a:ext cx="41148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825625"/>
            <a:ext cx="41148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AC3271-8455-A54D-A842-AAE64E28DE79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A9606E-9F17-F74F-ABE7-58FDC2B914F5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C277D73-BED6-784C-9827-AB997FAD2527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49" y="365126"/>
            <a:ext cx="8346283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53" y="1681164"/>
            <a:ext cx="4098131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0053" y="2505074"/>
            <a:ext cx="4098131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49" y="1681164"/>
            <a:ext cx="41148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49" y="2505074"/>
            <a:ext cx="4114800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462327B-3B5F-CE47-9157-6EDC8E14D978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338A19-8A04-A945-9C3C-9381F5472C5B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A5253-7F6F-D142-9424-73C74CD386B2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0049" y="1825625"/>
            <a:ext cx="41148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825625"/>
            <a:ext cx="41148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E8760F9D-688F-6C48-966A-C956DF29F1C9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162F905-C5E7-5E4A-8203-C161145039F8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117472-C36B-544E-BB98-E57ABB3E531A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9B6336-D7E4-D545-86ED-777A82AEA86E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33FC528-B4A1-1E4F-9A8D-359C956850BB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B731006-58D8-B94F-AA95-AAB2C19D9432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8D9CA3-58C9-3E4A-8E52-FE0A2E5E817F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7A020E-A71A-254C-90FD-5C3E1F0751A3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112FF0-A606-654D-8637-2B034C23795B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401318-84F2-FD4C-AD30-5ADF01099764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1EF8DDD-F100-2A4A-8F68-2121F14CCC67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ID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162E5D-4D6F-E54C-BB12-4F85CE54E363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A8C16F-D73D-3543-B845-D6C2787E8E48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A5223F-C302-5942-9755-0B45A8C76FB1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0051" y="1825625"/>
            <a:ext cx="83439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EAF031-10EA-064E-9A6E-35EFD38646B0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BED0F1-2C7F-2C4A-9B68-0D6CEA3468B5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676D7F7-8D80-B040-844F-796F4C62DE4F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4"/>
            <a:ext cx="2200275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0051" y="365124"/>
            <a:ext cx="6029325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069C4B-9D63-FE4C-A3D4-281616B5A2B6}"/>
              </a:ext>
            </a:extLst>
          </p:cNvPr>
          <p:cNvSpPr txBox="1"/>
          <p:nvPr/>
        </p:nvSpPr>
        <p:spPr>
          <a:xfrm>
            <a:off x="8384184" y="6400202"/>
            <a:ext cx="174971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100" b="1" smtClean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100" b="1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B8C54B-D1F6-4A4A-AD14-E2F431B7BAB5}"/>
              </a:ext>
            </a:extLst>
          </p:cNvPr>
          <p:cNvSpPr txBox="1"/>
          <p:nvPr/>
        </p:nvSpPr>
        <p:spPr>
          <a:xfrm>
            <a:off x="7332320" y="6507925"/>
            <a:ext cx="931341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rtup Budge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D47B82-4749-254A-A64C-021067D137E8}"/>
              </a:ext>
            </a:extLst>
          </p:cNvPr>
          <p:cNvCxnSpPr>
            <a:cxnSpLocks/>
          </p:cNvCxnSpPr>
          <p:nvPr/>
        </p:nvCxnSpPr>
        <p:spPr>
          <a:xfrm>
            <a:off x="8672864" y="6569476"/>
            <a:ext cx="47113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F3E0A-8F84-4B1A-9C72-F54870058C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A0FF09-32B2-4A53-8322-F5332DA21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C9B90-0AD8-41BD-97B5-68DEC7938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62B8A8-F91D-4574-85AC-2731F6797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C9D3F-E889-424E-A11E-F32F79087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212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662577-BC1E-461F-A4AF-EED6889F1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8542E-D0EA-4563-AAD9-E143E80749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D14881-E1DD-4E73-8C70-82DE6A5A1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18ED03-7801-4150-B5AF-63D1F4B84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0526-5D52-4F28-A078-EFE563583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86359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CB929-D1C1-4F7D-A603-6FA99C3DC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59BB5-04E8-4523-B399-6F3E3B3C7A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7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06943F-6782-4E42-A6F6-1F66FFD9F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609BD-AF92-477C-B13D-D883D5B5C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1E818-0641-4BAB-AA25-5C5837BD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464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49" y="365126"/>
            <a:ext cx="8346283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53" y="1681164"/>
            <a:ext cx="4098131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0053" y="2505076"/>
            <a:ext cx="4098131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49" y="1681164"/>
            <a:ext cx="41148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49" y="2505076"/>
            <a:ext cx="4114800" cy="3743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0513721B-B642-B842-83E2-454D99C05B7A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B02220-B740-E04F-A7F3-0BA2BD9CEDC8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B6167C-4397-7243-8821-596558ABE008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3C146D-0B9D-2B45-A0B4-C65F6A0F5179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888AA-B19E-4E30-9F48-BE257CD01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40B9C-FE32-4D38-BC8C-6308B97505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599EE4-D27F-414F-9F0A-6D46E513A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BBDA18-12E0-4AE5-A33E-0226E29C7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AFACA9-0661-411A-9B9C-417516E18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A2FF3-397A-4990-A7AC-0289FCCCF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8874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16A4E-86DF-43AA-9ACB-B140E1A19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70EACF-E75B-4047-8C0A-5DAE30E0D6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43DF2B-0D3F-408A-9226-B0ABDD5BE0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7B308-6F96-43E0-B027-6D5EDED6D2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367BBA-76BB-4766-92D2-14B79D4C9B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82B05C-AC85-4F6A-8766-52E7F85C9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536DD1-40CC-4DB6-A153-4657647DE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FA3CD2-7A61-4889-BA0C-E7048EDD9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4535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EE452-94D0-4CB0-B332-5ED63F370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D866A9-4539-4CDD-9CD9-D73E6B09A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8F1B5C-89DE-4E55-9348-7F67ECB6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6051-960A-4A1A-9E52-D7C2D8890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9428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9E29F7-2DCD-43E2-B897-132F862D8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DC1C64-E2F5-4CBF-B3D5-793635F6A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3402C-B328-4387-87CD-A906AE0AD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0664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08D8-98B1-4E94-9223-A9154E78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EA5AB-4BF9-45A1-97DD-3DC83F5F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CF92EE-EFB6-47F2-8F40-95B0A944EF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070647-60F8-49EB-BFC5-38324C5BA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07F298-37B5-4382-BFC8-FD9F252A5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AA23D0-963B-4E78-962A-BC4F40206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8395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AF155-9D86-472B-801C-E6F9FB7A4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BF6BAF-3977-46A8-828D-ED48F96027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0ECA80-8A43-4372-8F10-3F95A1E053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91C5AB-7A19-4C10-A580-11516237D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FA44F-30E4-477C-A24B-7E1FF5E53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F9C00D-32AF-408E-BA5A-2FADD9615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0168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80A9E-8D36-4814-AAF7-4BC5BFB8C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F7E584-F146-4842-9652-1100D86C98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4F2FF4-EFC5-45F4-A274-B51E2D0153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DE19E-C640-4E3B-AD21-215635B5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C00A2-D829-4100-B40A-B2AC331A3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9649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C5E36C-71DB-438C-82EE-AFDC51046C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220902-9DCF-46B8-B4C5-778722AF6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954F60-CD5D-4393-9890-5C6A34656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239EBB-307C-48E5-9495-722727FC7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20D613-1DA8-4167-91F8-E451C4426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4416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F3E0A-8F84-4B1A-9C72-F54870058C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A0FF09-32B2-4A53-8322-F5332DA21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C9B90-0AD8-41BD-97B5-68DEC7938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62B8A8-F91D-4574-85AC-2731F6797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C9D3F-E889-424E-A11E-F32F79087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3260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662577-BC1E-461F-A4AF-EED6889F1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8542E-D0EA-4563-AAD9-E143E80749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D14881-E1DD-4E73-8C70-82DE6A5A1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18ED03-7801-4150-B5AF-63D1F4B84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610526-5D52-4F28-A078-EFE563583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178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CB929-D1C1-4F7D-A603-6FA99C3DC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59BB5-04E8-4523-B399-6F3E3B3C7A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7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06943F-6782-4E42-A6F6-1F66FFD9F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2609BD-AF92-477C-B13D-D883D5B5C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1E818-0641-4BAB-AA25-5C5837BD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5191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888AA-B19E-4E30-9F48-BE257CD01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40B9C-FE32-4D38-BC8C-6308B97505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599EE4-D27F-414F-9F0A-6D46E513A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BBDA18-12E0-4AE5-A33E-0226E29C7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AFACA9-0661-411A-9B9C-417516E18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A2FF3-397A-4990-A7AC-0289FCCCF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7855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16A4E-86DF-43AA-9ACB-B140E1A19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70EACF-E75B-4047-8C0A-5DAE30E0D6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43DF2B-0D3F-408A-9226-B0ABDD5BE0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7B308-6F96-43E0-B027-6D5EDED6D2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367BBA-76BB-4766-92D2-14B79D4C9B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82B05C-AC85-4F6A-8766-52E7F85C9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536DD1-40CC-4DB6-A153-4657647DE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FA3CD2-7A61-4889-BA0C-E7048EDD9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4933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EE452-94D0-4CB0-B332-5ED63F370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D866A9-4539-4CDD-9CD9-D73E6B09A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8F1B5C-89DE-4E55-9348-7F67ECB6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1A6051-960A-4A1A-9E52-D7C2D8890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1379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9E29F7-2DCD-43E2-B897-132F862D8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DC1C64-E2F5-4CBF-B3D5-793635F6A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3402C-B328-4387-87CD-A906AE0AD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9901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08D8-98B1-4E94-9223-A9154E78B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2EA5AB-4BF9-45A1-97DD-3DC83F5F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CF92EE-EFB6-47F2-8F40-95B0A944EF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070647-60F8-49EB-BFC5-38324C5BA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07F298-37B5-4382-BFC8-FD9F252A5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AA23D0-963B-4E78-962A-BC4F40206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665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AF155-9D86-472B-801C-E6F9FB7A4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BF6BAF-3977-46A8-828D-ED48F96027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0ECA80-8A43-4372-8F10-3F95A1E053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91C5AB-7A19-4C10-A580-11516237D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FA44F-30E4-477C-A24B-7E1FF5E53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F9C00D-32AF-408E-BA5A-2FADD9615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3606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80A9E-8D36-4814-AAF7-4BC5BFB8C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F7E584-F146-4842-9652-1100D86C98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4F2FF4-EFC5-45F4-A274-B51E2D0153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DE19E-C640-4E3B-AD21-215635B5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C00A2-D829-4100-B40A-B2AC331A3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943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C5E36C-71DB-438C-82EE-AFDC51046C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220902-9DCF-46B8-B4C5-778722AF6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954F60-CD5D-4393-9890-5C6A34656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239EBB-307C-48E5-9495-722727FC7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20D613-1DA8-4167-91F8-E451C4426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32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C44BC9-7755-4232-80F6-3236548FD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01C738-AD9D-45D8-A219-CEC81DCD3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C319F6-D00D-4516-AAEC-86CE4F75E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50901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AB381E70-4989-CB4F-B1CE-31905AF9E7D8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B80BC8-26DE-3A41-B2DC-8929C6DB9572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8F89FA-4296-044D-9BD8-B32DA98E8DD8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FA5961-3112-584E-A822-FF65D4A01CC1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1" y="1825625"/>
            <a:ext cx="83439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E0B73-4220-4703-8B4D-4EBA857644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565580-D7A0-44D9-A3C3-70BE88E507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CCF0A-DD80-4949-A4D7-B1785F654B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8A918C-E64E-4A3F-889B-49BCF29CB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386D6B-80D8-4606-8190-4106A6A21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268026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734B6-7A0E-4875-AEEA-1F03F38B3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D5D976-012D-4222-AD69-A20FBBC36E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2EF47B-0899-42D9-9564-F612FBD65A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706E85-E373-4F19-BE69-493CD65EB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E0930-1D44-4820-B8C9-5E384833E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0004842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CB30BB-1610-43F8-8C6D-7DDF820BB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6A7745-9515-47AA-8758-6CDC7D31D3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71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2488BA-3DD0-43FB-AE1A-6B021E64C8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CF8D7D-3123-4991-BC5A-9FC4BEAEE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06AD08-A2E5-4DD1-A107-168A9FD58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141322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12315-F5B3-4CD4-B482-9A7B82218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F68F2-B30D-4401-8FD7-79A4176D51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B7AE66-696F-47F9-8B44-61507EA761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4E6CAC-8EDD-434A-B083-AD5DE74FB6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7114D1-1509-41EF-8640-29F900335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C896BC-B20E-4818-9C67-0E271EFE3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831724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E5BDA-7D7F-4AE4-9B7F-7649B20C0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8C3229-A694-427F-AE45-68E81DE906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17499F-AB2C-46BB-8BFA-A7B6A9828B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2E9100-EF0F-438E-886F-4199A189B7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5ADE10-33A3-46BA-84AC-FE524FE48E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A924B2-8CA1-4D7D-8594-932435C453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0CD5D7-E1AA-44F9-ABE8-0B9CB1A55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7120C1-51B9-4FCE-9CED-E68740179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521143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DAFCE-DBF2-4A7C-ABA6-5BF9629E7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A2F19F-C20B-4255-ACF6-E3DED54BAE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CA8219-71C5-4AF6-9AE3-0057A23F7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245056-3152-439C-8BBE-9FFBCA0D7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6026123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4CEAA1-8815-4091-BD93-F3A5689930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8E6DC5-496A-4C43-BF27-01C5D0302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5EB15-0665-49DD-AEC0-F2C94441E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745750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EC281F-E994-46FE-B8A5-A93142214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661D1C-E54F-4A14-A34C-F9E46755CB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5469A3-2069-4F5A-A10A-701AF0FA57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A8D866-FD8F-469C-A4B5-8D64879C5A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A8F02B-6180-4C85-AA69-C42F745A8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2C3116-6E01-4854-8DD6-F6FC98BF8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137074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E2520-C24B-44C7-AC69-30F175A4C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9C3349-A205-40BC-B36E-6183CC3533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ID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DD66-5598-4EEB-9B15-8439EB2A18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8560A2-4A67-4321-9EC1-9175B8BF2A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81514-DA4A-4210-BB87-01459854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E26940-58AC-47D1-8CA6-3D9F618C5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5694702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65F69-9D40-407F-A3E7-1493159FA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1F38A0-2D17-4071-9133-66EA7EE6A3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9CA16-9752-4EA7-838F-5027F0F854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25809B-8894-4C9C-A01C-109B49102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24F1E-DA23-40BC-AA47-6C355997A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843554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6A6EF66-0C72-4387-82BC-A5BC5BC4F8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CF91D6-A836-4FEA-8B29-8859AC82D2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5B705-6362-4C01-9EC3-910EF017B2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B5B84E88-1AE0-407B-839F-0963DBFC673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3D48D1-AF3A-4481-B3F2-2E3E39131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5D276A-4DF5-4DD9-961A-0AC1AACE4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/>
          <a:lstStyle/>
          <a:p>
            <a:fld id="{F2E821D6-F3F3-4A1A-BEAE-CF78CB35A150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4519706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2209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5006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458947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3843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510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4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4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6540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1693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02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23568A72-E069-D741-820C-9B89382FB934}"/>
              </a:ext>
            </a:extLst>
          </p:cNvPr>
          <p:cNvSpPr/>
          <p:nvPr/>
        </p:nvSpPr>
        <p:spPr>
          <a:xfrm>
            <a:off x="8448677" y="6438640"/>
            <a:ext cx="248841" cy="41936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4984C5"/>
              </a:gs>
              <a:gs pos="100000">
                <a:srgbClr val="90DFF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04298F-9094-8F4A-8EFF-1F9DC0DC0E26}"/>
              </a:ext>
            </a:extLst>
          </p:cNvPr>
          <p:cNvSpPr txBox="1"/>
          <p:nvPr/>
        </p:nvSpPr>
        <p:spPr>
          <a:xfrm>
            <a:off x="8448677" y="6571376"/>
            <a:ext cx="24884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EAD368-CB72-FC44-976E-4E6AA4708CDB}"/>
              </a:ext>
            </a:extLst>
          </p:cNvPr>
          <p:cNvSpPr txBox="1"/>
          <p:nvPr/>
        </p:nvSpPr>
        <p:spPr>
          <a:xfrm>
            <a:off x="7618296" y="6525215"/>
            <a:ext cx="67968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EARCH POST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47414C-7BFE-6A48-A95E-9145153E2808}"/>
              </a:ext>
            </a:extLst>
          </p:cNvPr>
          <p:cNvCxnSpPr>
            <a:cxnSpLocks/>
          </p:cNvCxnSpPr>
          <p:nvPr/>
        </p:nvCxnSpPr>
        <p:spPr>
          <a:xfrm flipH="1">
            <a:off x="3" y="6648320"/>
            <a:ext cx="74675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101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899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0111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781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C44BC9-7755-4232-80F6-3236548FD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01C738-AD9D-45D8-A219-CEC81DCD3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C319F6-D00D-4516-AAEC-86CE4F75E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509013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80666-FB37-4B36-9149-507F3B0178E3}" type="datetimeFigureOut">
              <a:rPr lang="en-US" smtClean="0"/>
              <a:pPr/>
              <a:t>9/4/2021</a:t>
            </a:fld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63A33-8271-4DD0-9C48-789913D7C11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80666-FB37-4B36-9149-507F3B0178E3}" type="datetimeFigureOut">
              <a:rPr lang="en-US" smtClean="0"/>
              <a:pPr/>
              <a:t>9/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63A33-8271-4DD0-9C48-789913D7C11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4" y="5052546"/>
            <a:ext cx="5637011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80666-FB37-4B36-9149-507F3B0178E3}" type="datetimeFigureOut">
              <a:rPr lang="en-US" smtClean="0"/>
              <a:pPr/>
              <a:t>9/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63A33-8271-4DD0-9C48-789913D7C11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2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80666-FB37-4B36-9149-507F3B0178E3}" type="datetimeFigureOut">
              <a:rPr lang="en-US" smtClean="0"/>
              <a:pPr/>
              <a:t>9/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63A33-8271-4DD0-9C48-789913D7C11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7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2"/>
            <a:ext cx="5970495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microsoft.com/office/2007/relationships/hdphoto" Target="../media/hdphoto1.wdp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4EC3AC-F1CF-9E4C-885D-59835F089E6C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45376853"/>
              </p:ext>
            </p:extLst>
          </p:nvPr>
        </p:nvGraphicFramePr>
        <p:xfrm>
          <a:off x="1193" y="1592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3" y="1592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9BDBB0-C9C9-C241-A882-A3EBAA38517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2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51" y="406401"/>
            <a:ext cx="83439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51" y="1524003"/>
            <a:ext cx="83439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94F4C6-6539-4BB3-9A3D-386C571AD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5A670F-8143-4DCA-994A-56C21536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6AB7C-7BD3-49F8-A063-7751CD981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EC9DDF-4716-41C7-A047-ECC23BBFA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E1D040-3657-4D4D-830C-CF2F77DCEE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63745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90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1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8E80666-FB37-4B36-9149-507F3B0178E3}" type="datetimeFigureOut">
              <a:rPr lang="en-US" smtClean="0"/>
              <a:pPr/>
              <a:t>9/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1" y="6172201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1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E63A33-8271-4DD0-9C48-789913D7C11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9342586"/>
              </p:ext>
            </p:extLst>
          </p:nvPr>
        </p:nvGraphicFramePr>
        <p:xfrm>
          <a:off x="1194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4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8DF5AC-BA80-4C36-9250-D0307192A23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FE2463-D5B9-4CA1-99DF-99DC31AA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F83EC6-359C-4CF6-82FC-2ABB3C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0CB8B-B537-4D43-B9FC-494AA284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B8A0F-97FD-44C0-94EA-532E0B8DB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B9BEC-97C9-4100-8319-9B3257F64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736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5412885"/>
              </p:ext>
            </p:extLst>
          </p:nvPr>
        </p:nvGraphicFramePr>
        <p:xfrm>
          <a:off x="1194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4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8DF5AC-BA80-4C36-9250-D0307192A23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FE2463-D5B9-4CA1-99DF-99DC31AA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F83EC6-359C-4CF6-82FC-2ABB3C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0CB8B-B537-4D43-B9FC-494AA284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B8A0F-97FD-44C0-94EA-532E0B8DB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B9BEC-97C9-4100-8319-9B3257F64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927B9-FE2F-6547-888C-BB7E7A88DDFA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6948536"/>
              </p:ext>
            </p:extLst>
          </p:nvPr>
        </p:nvGraphicFramePr>
        <p:xfrm>
          <a:off x="1193" y="1592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3" y="1592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02A9F1-D26D-C949-A8F3-A16AA4A7248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2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51" y="406401"/>
            <a:ext cx="83439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51" y="1524003"/>
            <a:ext cx="83439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0521B4-7FBB-489D-AA53-63ABE9F6B30C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42542705"/>
              </p:ext>
            </p:extLst>
          </p:nvPr>
        </p:nvGraphicFramePr>
        <p:xfrm>
          <a:off x="1194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4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EDD339D-E4C3-43A4-87E0-0592AEE0981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3DB31F-EC83-4E69-A17E-F0A8B38ED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F19BA-6693-4D6B-84DF-BA368378AD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FA94ED-83CC-4F34-AF5C-854AC6E12D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F8D29-AAE0-4D63-9A60-F8E60B758B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77795-50A1-4732-BA55-34FC8CE55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413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0521B4-7FBB-489D-AA53-63ABE9F6B30C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9995378"/>
              </p:ext>
            </p:extLst>
          </p:nvPr>
        </p:nvGraphicFramePr>
        <p:xfrm>
          <a:off x="1194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4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EDD339D-E4C3-43A4-87E0-0592AEE0981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3DB31F-EC83-4E69-A17E-F0A8B38ED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FF19BA-6693-4D6B-84DF-BA368378AD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FA94ED-83CC-4F34-AF5C-854AC6E12D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4C4072-65FF-4310-BBD0-82524F1C8E9D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F8D29-AAE0-4D63-9A60-F8E60B758B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77795-50A1-4732-BA55-34FC8CE55E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8FEBB8-B588-456E-9625-049EBBECFF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27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94F4C6-6539-4BB3-9A3D-386C571AD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5A670F-8143-4DCA-994A-56C21536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6AB7C-7BD3-49F8-A063-7751CD981B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F7138A-1253-4F79-AE3A-502755E49651}" type="datetimeFigureOut">
              <a:rPr lang="en-ID" smtClean="0"/>
              <a:t>04/09/2021</a:t>
            </a:fld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EC9DDF-4716-41C7-A047-ECC23BBFA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E1D040-3657-4D4D-830C-CF2F77DCEE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EC970-A35D-4983-AB32-BF5083AB2DAA}" type="slidenum">
              <a:rPr lang="en-ID" smtClean="0"/>
              <a:t>‹#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63745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E0DCF52-1755-4506-963E-E4327A972E7C}"/>
              </a:ext>
            </a:extLst>
          </p:cNvPr>
          <p:cNvSpPr txBox="1"/>
          <p:nvPr/>
        </p:nvSpPr>
        <p:spPr>
          <a:xfrm>
            <a:off x="0" y="6527800"/>
            <a:ext cx="9144000" cy="330200"/>
          </a:xfrm>
          <a:prstGeom prst="rect">
            <a:avLst/>
          </a:prstGeom>
          <a:solidFill>
            <a:srgbClr val="271D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dirty="0">
              <a:sym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8A8AF3-6E99-4A98-B88C-A7C900E01E28}"/>
              </a:ext>
            </a:extLst>
          </p:cNvPr>
          <p:cNvSpPr txBox="1"/>
          <p:nvPr/>
        </p:nvSpPr>
        <p:spPr>
          <a:xfrm>
            <a:off x="8568928" y="6527800"/>
            <a:ext cx="575072" cy="330200"/>
          </a:xfrm>
          <a:prstGeom prst="rect">
            <a:avLst/>
          </a:prstGeom>
          <a:gradFill flip="none" rotWithShape="1">
            <a:gsLst>
              <a:gs pos="0">
                <a:srgbClr val="FF5851"/>
              </a:gs>
              <a:gs pos="100000">
                <a:srgbClr val="FD1E5F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dirty="0">
              <a:sym typeface="Calibri" panose="020F0502020204030204" pitchFamily="34" charset="0"/>
            </a:endParaRPr>
          </a:p>
        </p:txBody>
      </p:sp>
      <p:pic>
        <p:nvPicPr>
          <p:cNvPr id="12" name="Picture 25">
            <a:extLst>
              <a:ext uri="{FF2B5EF4-FFF2-40B4-BE49-F238E27FC236}">
                <a16:creationId xmlns:a16="http://schemas.microsoft.com/office/drawing/2014/main" id="{EC322C49-8871-4459-B7A8-A85654889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56" y="6603329"/>
            <a:ext cx="381857" cy="179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9DDC08D-321A-4B67-B400-9CCC23222E28}"/>
              </a:ext>
            </a:extLst>
          </p:cNvPr>
          <p:cNvSpPr txBox="1"/>
          <p:nvPr/>
        </p:nvSpPr>
        <p:spPr>
          <a:xfrm>
            <a:off x="8614705" y="6539015"/>
            <a:ext cx="432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ID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GE.0</a:t>
            </a:r>
            <a:fld id="{81CD4187-F6B9-434F-87FC-3DDBF66CA81C}" type="slidenum">
              <a:rPr lang="en-ID" sz="100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ID" sz="1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0243D5-3906-4FDB-BFC2-B46F2191ABAB}"/>
              </a:ext>
            </a:extLst>
          </p:cNvPr>
          <p:cNvCxnSpPr>
            <a:cxnSpLocks/>
          </p:cNvCxnSpPr>
          <p:nvPr/>
        </p:nvCxnSpPr>
        <p:spPr>
          <a:xfrm>
            <a:off x="0" y="6692900"/>
            <a:ext cx="40005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957834B5-8546-4C39-9343-972B32B14C2B}"/>
              </a:ext>
            </a:extLst>
          </p:cNvPr>
          <p:cNvSpPr txBox="1"/>
          <p:nvPr/>
        </p:nvSpPr>
        <p:spPr>
          <a:xfrm>
            <a:off x="575074" y="266706"/>
            <a:ext cx="396479" cy="45719"/>
          </a:xfrm>
          <a:prstGeom prst="rect">
            <a:avLst/>
          </a:prstGeom>
          <a:gradFill>
            <a:gsLst>
              <a:gs pos="0">
                <a:srgbClr val="FF5851"/>
              </a:gs>
              <a:gs pos="100000">
                <a:srgbClr val="FD1E5F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dirty="0">
              <a:sym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65590C-F778-47F9-92EE-6F3D79414254}"/>
              </a:ext>
            </a:extLst>
          </p:cNvPr>
          <p:cNvSpPr txBox="1"/>
          <p:nvPr/>
        </p:nvSpPr>
        <p:spPr>
          <a:xfrm>
            <a:off x="1005488" y="266706"/>
            <a:ext cx="34289" cy="45719"/>
          </a:xfrm>
          <a:prstGeom prst="rect">
            <a:avLst/>
          </a:prstGeom>
          <a:solidFill>
            <a:srgbClr val="271D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dirty="0"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44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1489510"/>
              </p:ext>
            </p:extLst>
          </p:nvPr>
        </p:nvGraphicFramePr>
        <p:xfrm>
          <a:off x="1194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4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49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9/4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1" y="635635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074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4" y="228600"/>
            <a:ext cx="5637011" cy="1295401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B050"/>
                </a:solidFill>
              </a:rPr>
              <a:t>        </a:t>
            </a:r>
            <a:r>
              <a:rPr lang="en-US" sz="2400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Green University of Bangladesh</a:t>
            </a:r>
          </a:p>
          <a:p>
            <a:r>
              <a:rPr lang="en-US" sz="2000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      Department of Computer Science &amp; Engineering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9E2BA-7C01-4E13-8D03-721FA16F9AE3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914400" y="2514600"/>
            <a:ext cx="7716838" cy="4001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2880" indent="0">
              <a:buNone/>
              <a:defRPr/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</a:rPr>
              <a:t>             Presentation on Student management system</a:t>
            </a:r>
          </a:p>
        </p:txBody>
      </p:sp>
      <p:sp>
        <p:nvSpPr>
          <p:cNvPr id="5" name="Rectangle 4"/>
          <p:cNvSpPr/>
          <p:nvPr/>
        </p:nvSpPr>
        <p:spPr>
          <a:xfrm>
            <a:off x="1058333" y="3556000"/>
            <a:ext cx="3200400" cy="2362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Presented to,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Name: Fatema-Tuj-Johora</a:t>
            </a:r>
            <a:br>
              <a:rPr lang="en-US" sz="1600" dirty="0">
                <a:latin typeface="Times New Roman" pitchFamily="18" charset="0"/>
                <a:cs typeface="Times New Roman" pitchFamily="18" charset="0"/>
              </a:rPr>
            </a:b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Designation : Lecturer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Department: Cse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Green university of Bangladesh</a:t>
            </a:r>
          </a:p>
        </p:txBody>
      </p:sp>
      <p:sp>
        <p:nvSpPr>
          <p:cNvPr id="7" name="Rectangle 6"/>
          <p:cNvSpPr/>
          <p:nvPr/>
        </p:nvSpPr>
        <p:spPr>
          <a:xfrm>
            <a:off x="5334000" y="3556000"/>
            <a:ext cx="3200400" cy="228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Presented by,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Name: Md. Nur A Neouse &amp; 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Md. Jakirul Islam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Id. 193002093 &amp; 193002101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Section: 193(Db)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Department: Cse</a:t>
            </a:r>
          </a:p>
          <a:p>
            <a:pPr algn="ctr"/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Green university of Bangladesh</a:t>
            </a:r>
          </a:p>
        </p:txBody>
      </p:sp>
      <p:sp>
        <p:nvSpPr>
          <p:cNvPr id="8" name="Rectangle 7"/>
          <p:cNvSpPr/>
          <p:nvPr/>
        </p:nvSpPr>
        <p:spPr>
          <a:xfrm>
            <a:off x="3200400" y="1782233"/>
            <a:ext cx="2667000" cy="381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ourse code: Cse-210</a:t>
            </a:r>
          </a:p>
        </p:txBody>
      </p:sp>
    </p:spTree>
    <p:extLst>
      <p:ext uri="{BB962C8B-B14F-4D97-AF65-F5344CB8AC3E}">
        <p14:creationId xmlns:p14="http://schemas.microsoft.com/office/powerpoint/2010/main" val="1599468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800" y="3276600"/>
            <a:ext cx="4683709" cy="5334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Thank you everyone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2392680"/>
          </a:xfrm>
        </p:spPr>
        <p:txBody>
          <a:bodyPr/>
          <a:lstStyle/>
          <a:p>
            <a:pPr marL="45720" indent="0">
              <a:buNone/>
            </a:pPr>
            <a:r>
              <a:rPr lang="en-US" dirty="0"/>
              <a:t> </a:t>
            </a:r>
          </a:p>
        </p:txBody>
      </p:sp>
      <p:sp>
        <p:nvSpPr>
          <p:cNvPr id="5" name="Oval 4"/>
          <p:cNvSpPr/>
          <p:nvPr/>
        </p:nvSpPr>
        <p:spPr>
          <a:xfrm>
            <a:off x="8686800" y="6400800"/>
            <a:ext cx="419099" cy="3810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latin typeface="Times New Roman" pitchFamily="18" charset="0"/>
                <a:cs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66514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2" y="457200"/>
            <a:ext cx="6512511" cy="6096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1295400" y="2133600"/>
            <a:ext cx="6400800" cy="304800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Login page</a:t>
            </a:r>
          </a:p>
          <a:p>
            <a:pPr marL="45720" indent="0">
              <a:buNone/>
            </a:pPr>
            <a:r>
              <a:rPr lang="en-US" sz="1800">
                <a:latin typeface="Times New Roman" pitchFamily="18" charset="0"/>
                <a:cs typeface="Times New Roman" pitchFamily="18" charset="0"/>
              </a:rPr>
              <a:t>Overview</a:t>
            </a:r>
            <a:endParaRPr lang="en-US" sz="18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Student classes</a:t>
            </a:r>
          </a:p>
          <a:p>
            <a:pPr marL="45720" indent="0">
              <a:buNone/>
            </a:pP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Subjects</a:t>
            </a:r>
          </a:p>
          <a:p>
            <a:pPr marL="45720" indent="0">
              <a:buNone/>
            </a:pP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Students</a:t>
            </a:r>
          </a:p>
          <a:p>
            <a:pPr marL="45720" indent="0">
              <a:buNone/>
            </a:pPr>
            <a:r>
              <a:rPr lang="en-US" sz="1800" dirty="0">
                <a:latin typeface="Times New Roman" pitchFamily="18" charset="0"/>
                <a:cs typeface="Times New Roman" pitchFamily="18" charset="0"/>
              </a:rPr>
              <a:t>Admin change password</a:t>
            </a:r>
          </a:p>
          <a:p>
            <a:pPr marL="45720" indent="0">
              <a:buNone/>
            </a:pPr>
            <a:endParaRPr lang="en-US" sz="24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endParaRPr lang="en-US" sz="24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413492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3290" y="685800"/>
            <a:ext cx="6512511" cy="3810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Login page</a:t>
            </a:r>
          </a:p>
        </p:txBody>
      </p:sp>
      <p:pic>
        <p:nvPicPr>
          <p:cNvPr id="19458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2590800"/>
            <a:ext cx="5097895" cy="32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val 4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873692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457200"/>
            <a:ext cx="6512511" cy="9906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Overview</a:t>
            </a:r>
          </a:p>
        </p:txBody>
      </p:sp>
      <p:sp>
        <p:nvSpPr>
          <p:cNvPr id="8" name="Oval 7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pic>
        <p:nvPicPr>
          <p:cNvPr id="18435" name="Picture 3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1676400"/>
            <a:ext cx="6276474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0903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304800"/>
            <a:ext cx="6512511" cy="8382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Student class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1828800"/>
            <a:ext cx="6705600" cy="419100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reate class </a:t>
            </a:r>
          </a:p>
          <a:p>
            <a:pPr marL="45720" indent="0">
              <a:buNone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                                           </a:t>
            </a:r>
          </a:p>
          <a:p>
            <a:pPr marL="45720" indent="0">
              <a:buNone/>
            </a:pP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                                       Manage classes </a:t>
            </a:r>
          </a:p>
          <a:p>
            <a:pPr marL="45720" indent="0">
              <a:buNone/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3505200"/>
            <a:ext cx="4106333" cy="2121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Oval 7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150236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6512511" cy="6858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Sub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762000" y="1371600"/>
            <a:ext cx="7772400" cy="4953000"/>
          </a:xfrm>
        </p:spPr>
        <p:txBody>
          <a:bodyPr/>
          <a:lstStyle/>
          <a:p>
            <a:pPr marL="45720" indent="0">
              <a:buNone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Create subject</a:t>
            </a:r>
          </a:p>
          <a:p>
            <a:pPr marL="45720" indent="0">
              <a:buNone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  <a:p>
            <a:pPr marL="45720" indent="0">
              <a:buNone/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                                    </a:t>
            </a:r>
          </a:p>
          <a:p>
            <a:pPr marL="45720" indent="0">
              <a:buNone/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                                     </a:t>
            </a:r>
          </a:p>
          <a:p>
            <a:pPr marL="45720" indent="0">
              <a:buNone/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                                           Manage subjects</a:t>
            </a:r>
          </a:p>
          <a:p>
            <a:pPr marL="45720" indent="0">
              <a:buNone/>
            </a:pPr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133" y="4191000"/>
            <a:ext cx="4122623" cy="1754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2605432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57200"/>
            <a:ext cx="6512511" cy="5334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762000" y="1600200"/>
            <a:ext cx="7924800" cy="4800600"/>
          </a:xfrm>
        </p:spPr>
        <p:txBody>
          <a:bodyPr/>
          <a:lstStyle/>
          <a:p>
            <a:pPr marL="45720" indent="0">
              <a:buNone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                                        </a:t>
            </a:r>
          </a:p>
          <a:p>
            <a:pPr marL="45720" indent="0">
              <a:buNone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                                         Add students</a:t>
            </a:r>
          </a:p>
          <a:p>
            <a:pPr marL="45720" indent="0">
              <a:buNone/>
            </a:pPr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2971800"/>
            <a:ext cx="3922441" cy="2548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095165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533400"/>
            <a:ext cx="6741111" cy="11430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609600" y="2133600"/>
            <a:ext cx="8229600" cy="4267200"/>
          </a:xfrm>
        </p:spPr>
        <p:txBody>
          <a:bodyPr/>
          <a:lstStyle/>
          <a:p>
            <a:pPr marL="45720" indent="0">
              <a:buNone/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                                        Manage students</a:t>
            </a:r>
          </a:p>
          <a:p>
            <a:pPr marL="45720" indent="0">
              <a:buNone/>
            </a:pP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2895600"/>
            <a:ext cx="4977746" cy="2268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val 6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159450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33400"/>
            <a:ext cx="6512511" cy="914400"/>
          </a:xfrm>
        </p:spPr>
        <p:txBody>
          <a:bodyPr/>
          <a:lstStyle/>
          <a:p>
            <a:pPr marL="0" indent="0" algn="l">
              <a:buNone/>
            </a:pP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Admin change passwor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762000" y="1905000"/>
            <a:ext cx="7391400" cy="3855720"/>
          </a:xfrm>
        </p:spPr>
        <p:txBody>
          <a:bodyPr/>
          <a:lstStyle/>
          <a:p>
            <a:pPr marL="4572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2764300"/>
            <a:ext cx="3962400" cy="2987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>
          <a:xfrm>
            <a:off x="8877299" y="6553200"/>
            <a:ext cx="228600" cy="2286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353224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QbUADMZjppgyzr7SQo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QbUADMZjppgyzr7SQo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l_KQNXy4mGzVsyxVuj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fXOqYtZIwjn.KCVDk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al Estate Listing Ppt-creativ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Slipstream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tartup Budget-creative">
  <a:themeElements>
    <a:clrScheme name="Custom 2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2393F"/>
      </a:accent1>
      <a:accent2>
        <a:srgbClr val="4E5859"/>
      </a:accent2>
      <a:accent3>
        <a:srgbClr val="F2E8DE"/>
      </a:accent3>
      <a:accent4>
        <a:srgbClr val="D87D48"/>
      </a:accent4>
      <a:accent5>
        <a:srgbClr val="D9643A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al Estate Listing Ppt-creative</Template>
  <TotalTime>214</TotalTime>
  <Words>128</Words>
  <Application>Microsoft Office PowerPoint</Application>
  <PresentationFormat>On-screen Show (4:3)</PresentationFormat>
  <Paragraphs>5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0" baseType="lpstr">
      <vt:lpstr>Arial</vt:lpstr>
      <vt:lpstr>Calibri</vt:lpstr>
      <vt:lpstr>Calibri Light</vt:lpstr>
      <vt:lpstr>Georgia</vt:lpstr>
      <vt:lpstr>Segoe UI</vt:lpstr>
      <vt:lpstr>Segoe UI Light</vt:lpstr>
      <vt:lpstr>Times New Roman</vt:lpstr>
      <vt:lpstr>Trebuchet MS</vt:lpstr>
      <vt:lpstr>Real Estate Listing Ppt-creative</vt:lpstr>
      <vt:lpstr>1_Office Theme</vt:lpstr>
      <vt:lpstr>2_Office Theme</vt:lpstr>
      <vt:lpstr>Startup Budget-creative</vt:lpstr>
      <vt:lpstr>3_Office Theme</vt:lpstr>
      <vt:lpstr>4_Office Theme</vt:lpstr>
      <vt:lpstr>Custom Design</vt:lpstr>
      <vt:lpstr>Office Theme</vt:lpstr>
      <vt:lpstr>Tema de Office</vt:lpstr>
      <vt:lpstr>1_Custom Design</vt:lpstr>
      <vt:lpstr>Slipstream</vt:lpstr>
      <vt:lpstr>think-cell Slide</vt:lpstr>
      <vt:lpstr>             Presentation on Student management system</vt:lpstr>
      <vt:lpstr>Content</vt:lpstr>
      <vt:lpstr>Login page</vt:lpstr>
      <vt:lpstr>Overview</vt:lpstr>
      <vt:lpstr>Student classes</vt:lpstr>
      <vt:lpstr>Subjects</vt:lpstr>
      <vt:lpstr>Students</vt:lpstr>
      <vt:lpstr>Students</vt:lpstr>
      <vt:lpstr>Admin change password</vt:lpstr>
      <vt:lpstr>Thank you everyon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Jakirul Islam</cp:lastModifiedBy>
  <cp:revision>41</cp:revision>
  <dcterms:created xsi:type="dcterms:W3CDTF">2021-09-03T20:53:31Z</dcterms:created>
  <dcterms:modified xsi:type="dcterms:W3CDTF">2021-09-04T03:53:10Z</dcterms:modified>
</cp:coreProperties>
</file>